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8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5DC51E-A97E-3F37-D77E-C10262E626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3F0097-AE5B-2412-1714-A05C53056C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3F0097-AE5B-2412-1714-A05C53056C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F79F2B-A17E-B097-EE5C-913820CB11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F93FF3-4D4A-ED7C-C189-BD1E7638A7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F576FA0F-C9F7-D8EB-57DC-CD1A61517957}"/>
              </a:ext>
            </a:extLst>
          </p:cNvPr>
          <p:cNvSpPr/>
          <p:nvPr/>
        </p:nvSpPr>
        <p:spPr>
          <a:xfrm rot="10800000">
            <a:off x="599243" y="1544320"/>
            <a:ext cx="1189608" cy="1027320"/>
          </a:xfrm>
          <a:custGeom>
            <a:avLst/>
            <a:gdLst>
              <a:gd name="connsiteX0" fmla="*/ 927718 w 1189608"/>
              <a:gd name="connsiteY0" fmla="*/ 1189608 h 1189608"/>
              <a:gd name="connsiteX1" fmla="*/ 0 w 1189608"/>
              <a:gd name="connsiteY1" fmla="*/ 1189608 h 1189608"/>
              <a:gd name="connsiteX2" fmla="*/ 0 w 1189608"/>
              <a:gd name="connsiteY2" fmla="*/ 0 h 1189608"/>
              <a:gd name="connsiteX3" fmla="*/ 1189608 w 1189608"/>
              <a:gd name="connsiteY3" fmla="*/ 0 h 1189608"/>
              <a:gd name="connsiteX4" fmla="*/ 1189608 w 1189608"/>
              <a:gd name="connsiteY4" fmla="*/ 927718 h 1189608"/>
              <a:gd name="connsiteX5" fmla="*/ 927718 w 1189608"/>
              <a:gd name="connsiteY5" fmla="*/ 118960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9608" h="1189608">
                <a:moveTo>
                  <a:pt x="927718" y="1189608"/>
                </a:moveTo>
                <a:lnTo>
                  <a:pt x="0" y="1189608"/>
                </a:lnTo>
                <a:lnTo>
                  <a:pt x="0" y="0"/>
                </a:lnTo>
                <a:lnTo>
                  <a:pt x="1189608" y="0"/>
                </a:lnTo>
                <a:lnTo>
                  <a:pt x="1189608" y="927718"/>
                </a:lnTo>
                <a:cubicBezTo>
                  <a:pt x="1189608" y="1072356"/>
                  <a:pt x="1072356" y="1189608"/>
                  <a:pt x="927718" y="1189608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E8669D1-4DC0-3A97-719B-CBD4B6FCF147}"/>
              </a:ext>
            </a:extLst>
          </p:cNvPr>
          <p:cNvSpPr/>
          <p:nvPr/>
        </p:nvSpPr>
        <p:spPr>
          <a:xfrm>
            <a:off x="2667738" y="4679946"/>
            <a:ext cx="1189608" cy="1027320"/>
          </a:xfrm>
          <a:custGeom>
            <a:avLst/>
            <a:gdLst>
              <a:gd name="connsiteX0" fmla="*/ 927718 w 1189608"/>
              <a:gd name="connsiteY0" fmla="*/ 1189608 h 1189608"/>
              <a:gd name="connsiteX1" fmla="*/ 0 w 1189608"/>
              <a:gd name="connsiteY1" fmla="*/ 1189608 h 1189608"/>
              <a:gd name="connsiteX2" fmla="*/ 0 w 1189608"/>
              <a:gd name="connsiteY2" fmla="*/ 0 h 1189608"/>
              <a:gd name="connsiteX3" fmla="*/ 1189608 w 1189608"/>
              <a:gd name="connsiteY3" fmla="*/ 0 h 1189608"/>
              <a:gd name="connsiteX4" fmla="*/ 1189608 w 1189608"/>
              <a:gd name="connsiteY4" fmla="*/ 927718 h 1189608"/>
              <a:gd name="connsiteX5" fmla="*/ 927718 w 1189608"/>
              <a:gd name="connsiteY5" fmla="*/ 118960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9608" h="1189608">
                <a:moveTo>
                  <a:pt x="927718" y="1189608"/>
                </a:moveTo>
                <a:lnTo>
                  <a:pt x="0" y="1189608"/>
                </a:lnTo>
                <a:lnTo>
                  <a:pt x="0" y="0"/>
                </a:lnTo>
                <a:lnTo>
                  <a:pt x="1189608" y="0"/>
                </a:lnTo>
                <a:lnTo>
                  <a:pt x="1189608" y="927718"/>
                </a:lnTo>
                <a:cubicBezTo>
                  <a:pt x="1189608" y="1072356"/>
                  <a:pt x="1072356" y="1189608"/>
                  <a:pt x="927718" y="1189608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19B8F08-5397-349D-2148-C4430C32521C}"/>
              </a:ext>
            </a:extLst>
          </p:cNvPr>
          <p:cNvSpPr/>
          <p:nvPr/>
        </p:nvSpPr>
        <p:spPr>
          <a:xfrm>
            <a:off x="803429" y="1720651"/>
            <a:ext cx="2849732" cy="3810285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4426148-F257-D0DA-D30A-0D9834167DA0}"/>
              </a:ext>
            </a:extLst>
          </p:cNvPr>
          <p:cNvSpPr/>
          <p:nvPr/>
        </p:nvSpPr>
        <p:spPr>
          <a:xfrm rot="5400000">
            <a:off x="680387" y="1463176"/>
            <a:ext cx="1027320" cy="1189608"/>
          </a:xfrm>
          <a:custGeom>
            <a:avLst/>
            <a:gdLst>
              <a:gd name="connsiteX0" fmla="*/ 0 w 1189608"/>
              <a:gd name="connsiteY0" fmla="*/ 927718 h 1189608"/>
              <a:gd name="connsiteX1" fmla="*/ 0 w 1189608"/>
              <a:gd name="connsiteY1" fmla="*/ 0 h 1189608"/>
              <a:gd name="connsiteX2" fmla="*/ 1189608 w 1189608"/>
              <a:gd name="connsiteY2" fmla="*/ 1189608 h 1189608"/>
              <a:gd name="connsiteX3" fmla="*/ 261890 w 1189608"/>
              <a:gd name="connsiteY3" fmla="*/ 1189608 h 1189608"/>
              <a:gd name="connsiteX4" fmla="*/ 0 w 1189608"/>
              <a:gd name="connsiteY4" fmla="*/ 92771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9608" h="1189608">
                <a:moveTo>
                  <a:pt x="0" y="927718"/>
                </a:moveTo>
                <a:lnTo>
                  <a:pt x="0" y="0"/>
                </a:lnTo>
                <a:lnTo>
                  <a:pt x="1189608" y="1189608"/>
                </a:lnTo>
                <a:lnTo>
                  <a:pt x="261890" y="1189608"/>
                </a:lnTo>
                <a:cubicBezTo>
                  <a:pt x="117252" y="1189608"/>
                  <a:pt x="0" y="1072356"/>
                  <a:pt x="0" y="927718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A71D2FD-B378-704A-FC23-2E3475583B26}"/>
              </a:ext>
            </a:extLst>
          </p:cNvPr>
          <p:cNvSpPr/>
          <p:nvPr/>
        </p:nvSpPr>
        <p:spPr>
          <a:xfrm rot="16200000">
            <a:off x="2748882" y="4598802"/>
            <a:ext cx="1027320" cy="1189608"/>
          </a:xfrm>
          <a:custGeom>
            <a:avLst/>
            <a:gdLst>
              <a:gd name="connsiteX0" fmla="*/ 0 w 1189608"/>
              <a:gd name="connsiteY0" fmla="*/ 927718 h 1189608"/>
              <a:gd name="connsiteX1" fmla="*/ 0 w 1189608"/>
              <a:gd name="connsiteY1" fmla="*/ 0 h 1189608"/>
              <a:gd name="connsiteX2" fmla="*/ 1189608 w 1189608"/>
              <a:gd name="connsiteY2" fmla="*/ 1189608 h 1189608"/>
              <a:gd name="connsiteX3" fmla="*/ 261890 w 1189608"/>
              <a:gd name="connsiteY3" fmla="*/ 1189608 h 1189608"/>
              <a:gd name="connsiteX4" fmla="*/ 0 w 1189608"/>
              <a:gd name="connsiteY4" fmla="*/ 92771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9608" h="1189608">
                <a:moveTo>
                  <a:pt x="0" y="927718"/>
                </a:moveTo>
                <a:lnTo>
                  <a:pt x="0" y="0"/>
                </a:lnTo>
                <a:lnTo>
                  <a:pt x="1189608" y="1189608"/>
                </a:lnTo>
                <a:lnTo>
                  <a:pt x="261890" y="1189608"/>
                </a:lnTo>
                <a:cubicBezTo>
                  <a:pt x="117252" y="1189608"/>
                  <a:pt x="0" y="1072356"/>
                  <a:pt x="0" y="927718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EAF67B-0BE5-E43A-69D0-7B84344401CF}"/>
              </a:ext>
            </a:extLst>
          </p:cNvPr>
          <p:cNvSpPr txBox="1"/>
          <p:nvPr/>
        </p:nvSpPr>
        <p:spPr>
          <a:xfrm>
            <a:off x="3159218" y="5127382"/>
            <a:ext cx="643125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01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7F4365B-6E7D-B749-A9D1-91C1229F7874}"/>
              </a:ext>
            </a:extLst>
          </p:cNvPr>
          <p:cNvSpPr/>
          <p:nvPr/>
        </p:nvSpPr>
        <p:spPr>
          <a:xfrm rot="10800000">
            <a:off x="4466948" y="1544320"/>
            <a:ext cx="1189608" cy="1027320"/>
          </a:xfrm>
          <a:custGeom>
            <a:avLst/>
            <a:gdLst>
              <a:gd name="connsiteX0" fmla="*/ 927718 w 1189608"/>
              <a:gd name="connsiteY0" fmla="*/ 1189608 h 1189608"/>
              <a:gd name="connsiteX1" fmla="*/ 0 w 1189608"/>
              <a:gd name="connsiteY1" fmla="*/ 1189608 h 1189608"/>
              <a:gd name="connsiteX2" fmla="*/ 0 w 1189608"/>
              <a:gd name="connsiteY2" fmla="*/ 0 h 1189608"/>
              <a:gd name="connsiteX3" fmla="*/ 1189608 w 1189608"/>
              <a:gd name="connsiteY3" fmla="*/ 0 h 1189608"/>
              <a:gd name="connsiteX4" fmla="*/ 1189608 w 1189608"/>
              <a:gd name="connsiteY4" fmla="*/ 927718 h 1189608"/>
              <a:gd name="connsiteX5" fmla="*/ 927718 w 1189608"/>
              <a:gd name="connsiteY5" fmla="*/ 118960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9608" h="1189608">
                <a:moveTo>
                  <a:pt x="927718" y="1189608"/>
                </a:moveTo>
                <a:lnTo>
                  <a:pt x="0" y="1189608"/>
                </a:lnTo>
                <a:lnTo>
                  <a:pt x="0" y="0"/>
                </a:lnTo>
                <a:lnTo>
                  <a:pt x="1189608" y="0"/>
                </a:lnTo>
                <a:lnTo>
                  <a:pt x="1189608" y="927718"/>
                </a:lnTo>
                <a:cubicBezTo>
                  <a:pt x="1189608" y="1072356"/>
                  <a:pt x="1072356" y="1189608"/>
                  <a:pt x="927718" y="1189608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622A3F8-7A37-8C1F-25C2-D87FA6886AC8}"/>
              </a:ext>
            </a:extLst>
          </p:cNvPr>
          <p:cNvSpPr/>
          <p:nvPr/>
        </p:nvSpPr>
        <p:spPr>
          <a:xfrm>
            <a:off x="6535443" y="4679946"/>
            <a:ext cx="1189608" cy="1027320"/>
          </a:xfrm>
          <a:custGeom>
            <a:avLst/>
            <a:gdLst>
              <a:gd name="connsiteX0" fmla="*/ 927718 w 1189608"/>
              <a:gd name="connsiteY0" fmla="*/ 1189608 h 1189608"/>
              <a:gd name="connsiteX1" fmla="*/ 0 w 1189608"/>
              <a:gd name="connsiteY1" fmla="*/ 1189608 h 1189608"/>
              <a:gd name="connsiteX2" fmla="*/ 0 w 1189608"/>
              <a:gd name="connsiteY2" fmla="*/ 0 h 1189608"/>
              <a:gd name="connsiteX3" fmla="*/ 1189608 w 1189608"/>
              <a:gd name="connsiteY3" fmla="*/ 0 h 1189608"/>
              <a:gd name="connsiteX4" fmla="*/ 1189608 w 1189608"/>
              <a:gd name="connsiteY4" fmla="*/ 927718 h 1189608"/>
              <a:gd name="connsiteX5" fmla="*/ 927718 w 1189608"/>
              <a:gd name="connsiteY5" fmla="*/ 118960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9608" h="1189608">
                <a:moveTo>
                  <a:pt x="927718" y="1189608"/>
                </a:moveTo>
                <a:lnTo>
                  <a:pt x="0" y="1189608"/>
                </a:lnTo>
                <a:lnTo>
                  <a:pt x="0" y="0"/>
                </a:lnTo>
                <a:lnTo>
                  <a:pt x="1189608" y="0"/>
                </a:lnTo>
                <a:lnTo>
                  <a:pt x="1189608" y="927718"/>
                </a:lnTo>
                <a:cubicBezTo>
                  <a:pt x="1189608" y="1072356"/>
                  <a:pt x="1072356" y="1189608"/>
                  <a:pt x="927718" y="1189608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E819C1-3D66-4148-45AC-D4061FF42610}"/>
              </a:ext>
            </a:extLst>
          </p:cNvPr>
          <p:cNvSpPr/>
          <p:nvPr/>
        </p:nvSpPr>
        <p:spPr>
          <a:xfrm>
            <a:off x="4671134" y="1720651"/>
            <a:ext cx="2849732" cy="3810285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0613AC1-408E-722B-DD8D-99F7C407681E}"/>
              </a:ext>
            </a:extLst>
          </p:cNvPr>
          <p:cNvSpPr/>
          <p:nvPr/>
        </p:nvSpPr>
        <p:spPr>
          <a:xfrm rot="5400000">
            <a:off x="4548092" y="1463176"/>
            <a:ext cx="1027320" cy="1189608"/>
          </a:xfrm>
          <a:custGeom>
            <a:avLst/>
            <a:gdLst>
              <a:gd name="connsiteX0" fmla="*/ 0 w 1189608"/>
              <a:gd name="connsiteY0" fmla="*/ 927718 h 1189608"/>
              <a:gd name="connsiteX1" fmla="*/ 0 w 1189608"/>
              <a:gd name="connsiteY1" fmla="*/ 0 h 1189608"/>
              <a:gd name="connsiteX2" fmla="*/ 1189608 w 1189608"/>
              <a:gd name="connsiteY2" fmla="*/ 1189608 h 1189608"/>
              <a:gd name="connsiteX3" fmla="*/ 261890 w 1189608"/>
              <a:gd name="connsiteY3" fmla="*/ 1189608 h 1189608"/>
              <a:gd name="connsiteX4" fmla="*/ 0 w 1189608"/>
              <a:gd name="connsiteY4" fmla="*/ 92771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9608" h="1189608">
                <a:moveTo>
                  <a:pt x="0" y="927718"/>
                </a:moveTo>
                <a:lnTo>
                  <a:pt x="0" y="0"/>
                </a:lnTo>
                <a:lnTo>
                  <a:pt x="1189608" y="1189608"/>
                </a:lnTo>
                <a:lnTo>
                  <a:pt x="261890" y="1189608"/>
                </a:lnTo>
                <a:cubicBezTo>
                  <a:pt x="117252" y="1189608"/>
                  <a:pt x="0" y="1072356"/>
                  <a:pt x="0" y="92771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61971F1-57CE-565C-D81E-D94566FE9D29}"/>
              </a:ext>
            </a:extLst>
          </p:cNvPr>
          <p:cNvSpPr/>
          <p:nvPr/>
        </p:nvSpPr>
        <p:spPr>
          <a:xfrm rot="16200000">
            <a:off x="6616587" y="4598802"/>
            <a:ext cx="1027320" cy="1189608"/>
          </a:xfrm>
          <a:custGeom>
            <a:avLst/>
            <a:gdLst>
              <a:gd name="connsiteX0" fmla="*/ 0 w 1189608"/>
              <a:gd name="connsiteY0" fmla="*/ 927718 h 1189608"/>
              <a:gd name="connsiteX1" fmla="*/ 0 w 1189608"/>
              <a:gd name="connsiteY1" fmla="*/ 0 h 1189608"/>
              <a:gd name="connsiteX2" fmla="*/ 1189608 w 1189608"/>
              <a:gd name="connsiteY2" fmla="*/ 1189608 h 1189608"/>
              <a:gd name="connsiteX3" fmla="*/ 261890 w 1189608"/>
              <a:gd name="connsiteY3" fmla="*/ 1189608 h 1189608"/>
              <a:gd name="connsiteX4" fmla="*/ 0 w 1189608"/>
              <a:gd name="connsiteY4" fmla="*/ 92771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9608" h="1189608">
                <a:moveTo>
                  <a:pt x="0" y="927718"/>
                </a:moveTo>
                <a:lnTo>
                  <a:pt x="0" y="0"/>
                </a:lnTo>
                <a:lnTo>
                  <a:pt x="1189608" y="1189608"/>
                </a:lnTo>
                <a:lnTo>
                  <a:pt x="261890" y="1189608"/>
                </a:lnTo>
                <a:cubicBezTo>
                  <a:pt x="117252" y="1189608"/>
                  <a:pt x="0" y="1072356"/>
                  <a:pt x="0" y="92771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18917A4-7093-529A-A4F2-433F9D17F1B9}"/>
              </a:ext>
            </a:extLst>
          </p:cNvPr>
          <p:cNvSpPr txBox="1"/>
          <p:nvPr/>
        </p:nvSpPr>
        <p:spPr>
          <a:xfrm>
            <a:off x="7039197" y="5127382"/>
            <a:ext cx="643125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02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BE2E1C8-F288-F83C-04FE-8F567D71D28E}"/>
              </a:ext>
            </a:extLst>
          </p:cNvPr>
          <p:cNvSpPr/>
          <p:nvPr/>
        </p:nvSpPr>
        <p:spPr>
          <a:xfrm rot="10800000">
            <a:off x="8334654" y="1544320"/>
            <a:ext cx="1189608" cy="1027320"/>
          </a:xfrm>
          <a:custGeom>
            <a:avLst/>
            <a:gdLst>
              <a:gd name="connsiteX0" fmla="*/ 927718 w 1189608"/>
              <a:gd name="connsiteY0" fmla="*/ 1189608 h 1189608"/>
              <a:gd name="connsiteX1" fmla="*/ 0 w 1189608"/>
              <a:gd name="connsiteY1" fmla="*/ 1189608 h 1189608"/>
              <a:gd name="connsiteX2" fmla="*/ 0 w 1189608"/>
              <a:gd name="connsiteY2" fmla="*/ 0 h 1189608"/>
              <a:gd name="connsiteX3" fmla="*/ 1189608 w 1189608"/>
              <a:gd name="connsiteY3" fmla="*/ 0 h 1189608"/>
              <a:gd name="connsiteX4" fmla="*/ 1189608 w 1189608"/>
              <a:gd name="connsiteY4" fmla="*/ 927718 h 1189608"/>
              <a:gd name="connsiteX5" fmla="*/ 927718 w 1189608"/>
              <a:gd name="connsiteY5" fmla="*/ 118960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9608" h="1189608">
                <a:moveTo>
                  <a:pt x="927718" y="1189608"/>
                </a:moveTo>
                <a:lnTo>
                  <a:pt x="0" y="1189608"/>
                </a:lnTo>
                <a:lnTo>
                  <a:pt x="0" y="0"/>
                </a:lnTo>
                <a:lnTo>
                  <a:pt x="1189608" y="0"/>
                </a:lnTo>
                <a:lnTo>
                  <a:pt x="1189608" y="927718"/>
                </a:lnTo>
                <a:cubicBezTo>
                  <a:pt x="1189608" y="1072356"/>
                  <a:pt x="1072356" y="1189608"/>
                  <a:pt x="927718" y="1189608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7051F7C3-4FF7-7CFF-12F5-822F927FE85B}"/>
              </a:ext>
            </a:extLst>
          </p:cNvPr>
          <p:cNvSpPr/>
          <p:nvPr/>
        </p:nvSpPr>
        <p:spPr>
          <a:xfrm>
            <a:off x="10403149" y="4679946"/>
            <a:ext cx="1189608" cy="1027320"/>
          </a:xfrm>
          <a:custGeom>
            <a:avLst/>
            <a:gdLst>
              <a:gd name="connsiteX0" fmla="*/ 927718 w 1189608"/>
              <a:gd name="connsiteY0" fmla="*/ 1189608 h 1189608"/>
              <a:gd name="connsiteX1" fmla="*/ 0 w 1189608"/>
              <a:gd name="connsiteY1" fmla="*/ 1189608 h 1189608"/>
              <a:gd name="connsiteX2" fmla="*/ 0 w 1189608"/>
              <a:gd name="connsiteY2" fmla="*/ 0 h 1189608"/>
              <a:gd name="connsiteX3" fmla="*/ 1189608 w 1189608"/>
              <a:gd name="connsiteY3" fmla="*/ 0 h 1189608"/>
              <a:gd name="connsiteX4" fmla="*/ 1189608 w 1189608"/>
              <a:gd name="connsiteY4" fmla="*/ 927718 h 1189608"/>
              <a:gd name="connsiteX5" fmla="*/ 927718 w 1189608"/>
              <a:gd name="connsiteY5" fmla="*/ 118960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9608" h="1189608">
                <a:moveTo>
                  <a:pt x="927718" y="1189608"/>
                </a:moveTo>
                <a:lnTo>
                  <a:pt x="0" y="1189608"/>
                </a:lnTo>
                <a:lnTo>
                  <a:pt x="0" y="0"/>
                </a:lnTo>
                <a:lnTo>
                  <a:pt x="1189608" y="0"/>
                </a:lnTo>
                <a:lnTo>
                  <a:pt x="1189608" y="927718"/>
                </a:lnTo>
                <a:cubicBezTo>
                  <a:pt x="1189608" y="1072356"/>
                  <a:pt x="1072356" y="1189608"/>
                  <a:pt x="927718" y="1189608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39D51A5-A70B-6D7A-2666-3B4E1D813AE9}"/>
              </a:ext>
            </a:extLst>
          </p:cNvPr>
          <p:cNvSpPr/>
          <p:nvPr/>
        </p:nvSpPr>
        <p:spPr>
          <a:xfrm>
            <a:off x="8538840" y="1720651"/>
            <a:ext cx="2849732" cy="3810285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37DE32B-11DF-6773-4280-38AD67FFDAC8}"/>
              </a:ext>
            </a:extLst>
          </p:cNvPr>
          <p:cNvSpPr/>
          <p:nvPr/>
        </p:nvSpPr>
        <p:spPr>
          <a:xfrm rot="5400000">
            <a:off x="8415798" y="1463176"/>
            <a:ext cx="1027320" cy="1189608"/>
          </a:xfrm>
          <a:custGeom>
            <a:avLst/>
            <a:gdLst>
              <a:gd name="connsiteX0" fmla="*/ 0 w 1189608"/>
              <a:gd name="connsiteY0" fmla="*/ 927718 h 1189608"/>
              <a:gd name="connsiteX1" fmla="*/ 0 w 1189608"/>
              <a:gd name="connsiteY1" fmla="*/ 0 h 1189608"/>
              <a:gd name="connsiteX2" fmla="*/ 1189608 w 1189608"/>
              <a:gd name="connsiteY2" fmla="*/ 1189608 h 1189608"/>
              <a:gd name="connsiteX3" fmla="*/ 261890 w 1189608"/>
              <a:gd name="connsiteY3" fmla="*/ 1189608 h 1189608"/>
              <a:gd name="connsiteX4" fmla="*/ 0 w 1189608"/>
              <a:gd name="connsiteY4" fmla="*/ 92771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9608" h="1189608">
                <a:moveTo>
                  <a:pt x="0" y="927718"/>
                </a:moveTo>
                <a:lnTo>
                  <a:pt x="0" y="0"/>
                </a:lnTo>
                <a:lnTo>
                  <a:pt x="1189608" y="1189608"/>
                </a:lnTo>
                <a:lnTo>
                  <a:pt x="261890" y="1189608"/>
                </a:lnTo>
                <a:cubicBezTo>
                  <a:pt x="117252" y="1189608"/>
                  <a:pt x="0" y="1072356"/>
                  <a:pt x="0" y="92771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01872AB-E923-2399-7D95-C0C75930237A}"/>
              </a:ext>
            </a:extLst>
          </p:cNvPr>
          <p:cNvSpPr/>
          <p:nvPr/>
        </p:nvSpPr>
        <p:spPr>
          <a:xfrm rot="16200000">
            <a:off x="10484293" y="4598803"/>
            <a:ext cx="1027320" cy="1189608"/>
          </a:xfrm>
          <a:custGeom>
            <a:avLst/>
            <a:gdLst>
              <a:gd name="connsiteX0" fmla="*/ 0 w 1189608"/>
              <a:gd name="connsiteY0" fmla="*/ 927718 h 1189608"/>
              <a:gd name="connsiteX1" fmla="*/ 0 w 1189608"/>
              <a:gd name="connsiteY1" fmla="*/ 0 h 1189608"/>
              <a:gd name="connsiteX2" fmla="*/ 1189608 w 1189608"/>
              <a:gd name="connsiteY2" fmla="*/ 1189608 h 1189608"/>
              <a:gd name="connsiteX3" fmla="*/ 261890 w 1189608"/>
              <a:gd name="connsiteY3" fmla="*/ 1189608 h 1189608"/>
              <a:gd name="connsiteX4" fmla="*/ 0 w 1189608"/>
              <a:gd name="connsiteY4" fmla="*/ 927718 h 1189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9608" h="1189608">
                <a:moveTo>
                  <a:pt x="0" y="927718"/>
                </a:moveTo>
                <a:lnTo>
                  <a:pt x="0" y="0"/>
                </a:lnTo>
                <a:lnTo>
                  <a:pt x="1189608" y="1189608"/>
                </a:lnTo>
                <a:lnTo>
                  <a:pt x="261890" y="1189608"/>
                </a:lnTo>
                <a:cubicBezTo>
                  <a:pt x="117252" y="1189608"/>
                  <a:pt x="0" y="1072356"/>
                  <a:pt x="0" y="92771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3944DA0-2205-7FC6-B54B-E68D1FF829C8}"/>
              </a:ext>
            </a:extLst>
          </p:cNvPr>
          <p:cNvSpPr txBox="1"/>
          <p:nvPr/>
        </p:nvSpPr>
        <p:spPr>
          <a:xfrm>
            <a:off x="10919175" y="5127382"/>
            <a:ext cx="643125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0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70A580D-0562-16E3-57BC-A9B3EB6D6239}"/>
              </a:ext>
            </a:extLst>
          </p:cNvPr>
          <p:cNvSpPr txBox="1"/>
          <p:nvPr/>
        </p:nvSpPr>
        <p:spPr>
          <a:xfrm>
            <a:off x="1122754" y="2198141"/>
            <a:ext cx="2211083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56E723D-45EE-67DF-22F6-F3881D0D5ED2}"/>
              </a:ext>
            </a:extLst>
          </p:cNvPr>
          <p:cNvSpPr txBox="1"/>
          <p:nvPr/>
        </p:nvSpPr>
        <p:spPr>
          <a:xfrm>
            <a:off x="1125688" y="2681775"/>
            <a:ext cx="2205215" cy="36933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glow>
                  <a:srgbClr val="000000"/>
                </a:glow>
              </a:effectLst>
              <a:uLnTx/>
              <a:uFillTx/>
              <a:ea typeface="Calibri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6540CE4-BB89-2853-8BC0-F85DB9B2048D}"/>
              </a:ext>
            </a:extLst>
          </p:cNvPr>
          <p:cNvSpPr txBox="1"/>
          <p:nvPr/>
        </p:nvSpPr>
        <p:spPr>
          <a:xfrm>
            <a:off x="4987315" y="2198141"/>
            <a:ext cx="2211083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9CBED82-E7E2-C904-0FB8-EE57A75D3459}"/>
              </a:ext>
            </a:extLst>
          </p:cNvPr>
          <p:cNvSpPr txBox="1"/>
          <p:nvPr/>
        </p:nvSpPr>
        <p:spPr>
          <a:xfrm>
            <a:off x="4993183" y="2681775"/>
            <a:ext cx="2205215" cy="36933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glow>
                  <a:srgbClr val="000000"/>
                </a:glow>
              </a:effectLst>
              <a:uLnTx/>
              <a:uFillTx/>
              <a:ea typeface="Calibri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574B5C2-DBCC-DFF1-CCD1-12BA48CC798A}"/>
              </a:ext>
            </a:extLst>
          </p:cNvPr>
          <p:cNvSpPr txBox="1"/>
          <p:nvPr/>
        </p:nvSpPr>
        <p:spPr>
          <a:xfrm>
            <a:off x="8858164" y="2198139"/>
            <a:ext cx="2211083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E7FEB9C-63D4-8028-F7A5-4A5534707FFD}"/>
              </a:ext>
            </a:extLst>
          </p:cNvPr>
          <p:cNvSpPr txBox="1"/>
          <p:nvPr/>
        </p:nvSpPr>
        <p:spPr>
          <a:xfrm>
            <a:off x="8864032" y="2681770"/>
            <a:ext cx="2205215" cy="36933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glow>
                  <a:srgbClr val="000000"/>
                </a:glow>
              </a:effectLst>
              <a:uLnTx/>
              <a:uFillTx/>
              <a:ea typeface="Calibri"/>
              <a:cs typeface="Calibri" panose="020F050202020403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859259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8</TotalTime>
  <Words>17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46</cp:revision>
  <dcterms:created xsi:type="dcterms:W3CDTF">2021-03-31T02:49:57Z</dcterms:created>
  <dcterms:modified xsi:type="dcterms:W3CDTF">2025-10-15T08:42:14Z</dcterms:modified>
  <cp:category/>
</cp:coreProperties>
</file>